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B867AA-A7F2-49AF-9B6B-AC5F094F48A9}" v="1" dt="2026-02-13T09:29:03.9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8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Vonwil" userId="0ad870db-0542-47a7-a857-35483da1cf18" providerId="ADAL" clId="{36C3E75C-CF77-4501-9C9B-93F7F9890DFD}"/>
    <pc:docChg chg="custSel addSld delSld modSld">
      <pc:chgData name="Thomas Vonwil" userId="0ad870db-0542-47a7-a857-35483da1cf18" providerId="ADAL" clId="{36C3E75C-CF77-4501-9C9B-93F7F9890DFD}" dt="2026-02-13T09:36:17.251" v="6" actId="20577"/>
      <pc:docMkLst>
        <pc:docMk/>
      </pc:docMkLst>
      <pc:sldChg chg="del">
        <pc:chgData name="Thomas Vonwil" userId="0ad870db-0542-47a7-a857-35483da1cf18" providerId="ADAL" clId="{36C3E75C-CF77-4501-9C9B-93F7F9890DFD}" dt="2026-02-13T09:29:18.529" v="2" actId="47"/>
        <pc:sldMkLst>
          <pc:docMk/>
          <pc:sldMk cId="2132877966" sldId="256"/>
        </pc:sldMkLst>
      </pc:sldChg>
      <pc:sldChg chg="delSp modSp add mod">
        <pc:chgData name="Thomas Vonwil" userId="0ad870db-0542-47a7-a857-35483da1cf18" providerId="ADAL" clId="{36C3E75C-CF77-4501-9C9B-93F7F9890DFD}" dt="2026-02-13T09:36:17.251" v="6" actId="20577"/>
        <pc:sldMkLst>
          <pc:docMk/>
          <pc:sldMk cId="4225380850" sldId="261"/>
        </pc:sldMkLst>
        <pc:spChg chg="mod">
          <ac:chgData name="Thomas Vonwil" userId="0ad870db-0542-47a7-a857-35483da1cf18" providerId="ADAL" clId="{36C3E75C-CF77-4501-9C9B-93F7F9890DFD}" dt="2026-02-13T09:36:17.251" v="6" actId="20577"/>
          <ac:spMkLst>
            <pc:docMk/>
            <pc:sldMk cId="4225380850" sldId="261"/>
            <ac:spMk id="9" creationId="{272A80B8-C06A-800D-7CCF-B2774CE36C18}"/>
          </ac:spMkLst>
        </pc:spChg>
        <pc:spChg chg="mod">
          <ac:chgData name="Thomas Vonwil" userId="0ad870db-0542-47a7-a857-35483da1cf18" providerId="ADAL" clId="{36C3E75C-CF77-4501-9C9B-93F7F9890DFD}" dt="2026-02-13T09:29:25.724" v="3" actId="27107"/>
          <ac:spMkLst>
            <pc:docMk/>
            <pc:sldMk cId="4225380850" sldId="261"/>
            <ac:spMk id="15" creationId="{AC1F7406-C2E0-0A5B-458C-998EE5E6BA79}"/>
          </ac:spMkLst>
        </pc:spChg>
        <pc:spChg chg="mod">
          <ac:chgData name="Thomas Vonwil" userId="0ad870db-0542-47a7-a857-35483da1cf18" providerId="ADAL" clId="{36C3E75C-CF77-4501-9C9B-93F7F9890DFD}" dt="2026-02-13T09:29:30.839" v="4" actId="27107"/>
          <ac:spMkLst>
            <pc:docMk/>
            <pc:sldMk cId="4225380850" sldId="261"/>
            <ac:spMk id="17" creationId="{586BB6C7-0C05-DB62-4F3A-D90B6FEDBC7C}"/>
          </ac:spMkLst>
        </pc:spChg>
        <pc:spChg chg="del">
          <ac:chgData name="Thomas Vonwil" userId="0ad870db-0542-47a7-a857-35483da1cf18" providerId="ADAL" clId="{36C3E75C-CF77-4501-9C9B-93F7F9890DFD}" dt="2026-02-13T09:29:09.070" v="1" actId="478"/>
          <ac:spMkLst>
            <pc:docMk/>
            <pc:sldMk cId="4225380850" sldId="261"/>
            <ac:spMk id="43" creationId="{BAC82EA0-C34C-7DFD-777C-FF86CEF759CB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471F7-6D09-A8F8-9F26-1683F4F3AB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38949B-F3ED-43A7-B4D8-E1B439DA4C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E08AC-1DB2-BDFE-B0ED-305CDFA21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A3A807-5CA0-B122-AC08-23BD6CE62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0485-8BDE-5E84-D2EF-1384F0C1C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477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F6629-A45C-AEE8-9520-2D884D160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859B0F-F221-F45A-9CE6-76CA95D0D5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55CCD-BB24-C2EE-667B-FDD5F7CEC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1C1F0-EBA1-6744-BDEF-F536DD79F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DCA2E-8CD1-022F-6333-14098A3C7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50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5B6E8C-20A3-B066-03A9-9F57B825D3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2DAFE9-8D22-482F-2D3E-916626EE9B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367BC-BBA3-5929-422F-60C5D3B95F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3BBFEB-BDEF-28DE-7684-E446728C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F398D-DACD-0FD8-34A6-9BC48CE6E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910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D932A5A-781C-D37B-D67B-41C5080361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6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32A5A-781C-D37B-D67B-41C508036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5A417E2-5699-465F-947D-9AF89414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426" y="235668"/>
            <a:ext cx="11416203" cy="895548"/>
          </a:xfrm>
          <a:prstGeom prst="rect">
            <a:avLst/>
          </a:prstGeom>
        </p:spPr>
        <p:txBody>
          <a:bodyPr vert="horz" lIns="0" tIns="50800" rIns="0" bIns="50800" anchor="b">
            <a:noAutofit/>
          </a:bodyPr>
          <a:lstStyle>
            <a:lvl1pPr>
              <a:lnSpc>
                <a:spcPct val="105000"/>
              </a:lnSpc>
              <a:defRPr sz="28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  <a:endParaRPr lang="aa-ET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3462B1B-4286-E12D-E7E7-A7A5C41411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3567" y="6491445"/>
            <a:ext cx="355074" cy="277000"/>
          </a:xfrm>
          <a:prstGeom prst="rect">
            <a:avLst/>
          </a:prstGeom>
        </p:spPr>
        <p:txBody>
          <a:bodyPr vert="horz" lIns="0" tIns="50800" rIns="0" bIns="50800" rtlCol="0" anchor="b"/>
          <a:lstStyle>
            <a:lvl1pPr algn="r">
              <a:defRPr sz="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5B5783C-2D64-4F5E-BED7-F78A4BEC84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D516D89-DE24-2302-1FF2-759B637483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9" y="6400800"/>
            <a:ext cx="8555611" cy="367645"/>
          </a:xfrm>
          <a:prstGeom prst="rect">
            <a:avLst/>
          </a:prstGeom>
        </p:spPr>
        <p:txBody>
          <a:bodyPr lIns="0" tIns="50800" rIns="0" bIns="50800" anchor="b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add footnot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A210F97-4D5C-68C9-04DA-595D606973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426" y="1493471"/>
            <a:ext cx="11418215" cy="2921849"/>
          </a:xfrm>
          <a:prstGeom prst="rect">
            <a:avLst/>
          </a:prstGeom>
        </p:spPr>
        <p:txBody>
          <a:bodyPr lIns="0" tIns="50800" rIns="0" bIns="50800"/>
          <a:lstStyle>
            <a:lvl1pPr marL="228600" indent="-228600">
              <a:lnSpc>
                <a:spcPct val="105000"/>
              </a:lnSpc>
              <a:spcAft>
                <a:spcPts val="300"/>
              </a:spcAft>
              <a:defRPr sz="1600"/>
            </a:lvl1pPr>
            <a:lvl2pPr marL="457200" indent="-228600">
              <a:lnSpc>
                <a:spcPct val="105000"/>
              </a:lnSpc>
              <a:spcAft>
                <a:spcPts val="300"/>
              </a:spcAft>
              <a:defRPr sz="1600"/>
            </a:lvl2pPr>
            <a:lvl3pPr marL="685800" indent="-228600">
              <a:lnSpc>
                <a:spcPct val="105000"/>
              </a:lnSpc>
              <a:spcAft>
                <a:spcPts val="300"/>
              </a:spcAft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8B53DFD-2176-A54A-4D66-ECC8C6C17C13}"/>
              </a:ext>
            </a:extLst>
          </p:cNvPr>
          <p:cNvCxnSpPr/>
          <p:nvPr userDrawn="1"/>
        </p:nvCxnSpPr>
        <p:spPr>
          <a:xfrm>
            <a:off x="380999" y="1287426"/>
            <a:ext cx="1362960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910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  <p15:guide id="2" orient="horz" pos="936">
          <p15:clr>
            <a:srgbClr val="FBAE40"/>
          </p15:clr>
        </p15:guide>
        <p15:guide id="3" orient="horz" pos="24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6F1B-A4B7-ACDC-1958-24CF3B08B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19941-DD4D-B468-0E57-93B41D2D5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85116-C71C-C2C6-A622-F5FD9440B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FCAFF1-B3D4-BB7E-725C-0E8A0C7AA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B98F3D-307E-9E10-1E5F-246F14BEB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952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02257-8E13-2407-1417-DDF1AD6CC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608A21-07D8-2ADB-295D-3A239930C7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385A83-CBC3-35C2-8AF8-E027CBB9B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66994D-DA22-5585-A5D4-3C23FC299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40A7BA-84E6-C2B1-D921-9B090D335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DE177-3631-1F67-17BF-3B6DF478A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A8260-42DD-A339-D2CC-90B8F2073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4FCDCA-F42D-3D0E-F5A0-0E0A17E04D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930B79-6E71-1F92-FFC4-8E6FF20A5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43B2ED-22F8-86C8-651E-9C3730077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90CC3A-FCFE-6811-6C93-18CE805B3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214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1C8AF-20B2-C6F9-9F2C-77B9B98C7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6A247-05BD-AFD8-DB54-C9FFE88C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9FBF2E-AC97-0DC6-F6BA-3646048584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116F2A-BD64-9901-0CCA-846DB580F3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5741B2-85F0-A246-2552-BF9CFE29DB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FC33B2-5C85-A1FD-97C3-42DB128B5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F45DC3-19B4-49B6-367C-3E4382144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05E6D3-741E-ADDD-F277-099ED066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12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DA98D-0AD0-77DB-EC56-419815D8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8ABBF0-A413-AAA5-B24B-A8EFC7F7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668B22-ADD5-650D-CBF2-67C775ED8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E943E-63CB-C82A-8A02-E22F044F0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212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8B23A2-1DAC-820F-8579-E0C72546F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080F70-6B49-12B2-9F9F-8EE032F92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7F651D-B83C-B6CA-58E7-75DA17CB4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987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E39FA-80E2-35B4-343B-04A53681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8164F9-2708-DF9A-D3EB-159810889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D790A-0B96-8E0A-3604-A70C947575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AAB59B-48C7-CA46-E4B9-1DED0FD8A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CB8F8B-0BC8-FA9D-D18E-2E3FB2EB3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34D65-84C7-6B2E-5E2C-0DD04D091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204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ECADA-A755-475E-C1C8-F19E31130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E46136-B68F-11ED-0BD2-D4CE70C31E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FF5AF7-6EEF-8A6C-0929-670ACE8A12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44C2CD-594F-CBC2-8E1C-FFF8EBE41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76CA52-B782-C57A-57E9-F998F3E4B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23FF9-BF32-2E56-393D-00980F650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189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65DEC7C-3CBF-5CAD-7AC0-0BA8368EE2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276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DEC7C-3CBF-5CAD-7AC0-0BA8368EE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01F6A2-09FF-99CB-D3F8-2695B5569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4558C-B90A-4A22-FE3A-1A47E8DB23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09038F-C60A-67AD-981C-49432223D4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B183A0-E792-4230-9862-E341423FB101}" type="datetimeFigureOut">
              <a:rPr lang="en-GB" smtClean="0"/>
              <a:t>13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314C0B-C86A-2884-AA1E-AADD34CEE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C5800D-C030-803B-1F49-2B0FA55116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0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oleObject" Target="../embeddings/oleObject3.bin"/><Relationship Id="rId26" Type="http://schemas.openxmlformats.org/officeDocument/2006/relationships/image" Target="../media/image8.png"/><Relationship Id="rId3" Type="http://schemas.openxmlformats.org/officeDocument/2006/relationships/tags" Target="../tags/tag5.xml"/><Relationship Id="rId21" Type="http://schemas.openxmlformats.org/officeDocument/2006/relationships/image" Target="../media/image3.svg"/><Relationship Id="rId34" Type="http://schemas.openxmlformats.org/officeDocument/2006/relationships/image" Target="../media/image16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12.xml"/><Relationship Id="rId25" Type="http://schemas.openxmlformats.org/officeDocument/2006/relationships/image" Target="../media/image7.svg"/><Relationship Id="rId33" Type="http://schemas.openxmlformats.org/officeDocument/2006/relationships/image" Target="../media/image15.sv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2.png"/><Relationship Id="rId29" Type="http://schemas.openxmlformats.org/officeDocument/2006/relationships/image" Target="../media/image11.sv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6.png"/><Relationship Id="rId32" Type="http://schemas.openxmlformats.org/officeDocument/2006/relationships/image" Target="../media/image14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5.svg"/><Relationship Id="rId28" Type="http://schemas.openxmlformats.org/officeDocument/2006/relationships/image" Target="../media/image10.png"/><Relationship Id="rId10" Type="http://schemas.openxmlformats.org/officeDocument/2006/relationships/tags" Target="../tags/tag12.xml"/><Relationship Id="rId19" Type="http://schemas.openxmlformats.org/officeDocument/2006/relationships/image" Target="../media/image1.emf"/><Relationship Id="rId31" Type="http://schemas.openxmlformats.org/officeDocument/2006/relationships/image" Target="../media/image13.sv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4.png"/><Relationship Id="rId27" Type="http://schemas.openxmlformats.org/officeDocument/2006/relationships/image" Target="../media/image9.svg"/><Relationship Id="rId30" Type="http://schemas.openxmlformats.org/officeDocument/2006/relationships/image" Target="../media/image12.png"/><Relationship Id="rId35" Type="http://schemas.openxmlformats.org/officeDocument/2006/relationships/image" Target="../media/image17.svg"/><Relationship Id="rId8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A2B3CA-4506-CAEA-43A5-53E00F985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622" imgH="623" progId="TCLayout.ActiveDocument.1">
                  <p:embed/>
                </p:oleObj>
              </mc:Choice>
              <mc:Fallback>
                <p:oleObj name="think-cell Slide" r:id="rId18" imgW="622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2B3CA-4506-CAEA-43A5-53E00F985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0C9703-0D14-3CFD-1F7E-D6BFD5810D8E}"/>
              </a:ext>
            </a:extLst>
          </p:cNvPr>
          <p:cNvCxnSpPr>
            <a:cxnSpLocks/>
          </p:cNvCxnSpPr>
          <p:nvPr/>
        </p:nvCxnSpPr>
        <p:spPr>
          <a:xfrm>
            <a:off x="1751460" y="1701954"/>
            <a:ext cx="0" cy="95754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B8D6EE2-D086-E310-1EDA-414AF0B00A00}"/>
              </a:ext>
            </a:extLst>
          </p:cNvPr>
          <p:cNvSpPr txBox="1"/>
          <p:nvPr/>
        </p:nvSpPr>
        <p:spPr>
          <a:xfrm>
            <a:off x="1964611" y="1678139"/>
            <a:ext cx="3087428" cy="1031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Are we clear on the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values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behaviors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we want to live up to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Do we have a deliberate approach to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hiring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developing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, and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recognizing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talent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Do we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manage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performance 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 growth 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effectively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B8E203-0A6C-A7BE-0F9B-0FA983CF47F1}"/>
              </a:ext>
            </a:extLst>
          </p:cNvPr>
          <p:cNvSpPr txBox="1"/>
          <p:nvPr/>
        </p:nvSpPr>
        <p:spPr>
          <a:xfrm>
            <a:off x="5304167" y="1675667"/>
            <a:ext cx="3134983" cy="8620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we know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hat winning mean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for us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Have we made clear choices on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her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la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how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want t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in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we know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the few thing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we must d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better than anyone else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to win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2A80B8-C06A-800D-7CCF-B2774CE36C18}"/>
              </a:ext>
            </a:extLst>
          </p:cNvPr>
          <p:cNvSpPr txBox="1"/>
          <p:nvPr/>
        </p:nvSpPr>
        <p:spPr>
          <a:xfrm>
            <a:off x="8679785" y="1663791"/>
            <a:ext cx="2935953" cy="1031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Do we have a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mid-term plan 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for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“run” (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guardrails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) and “change” (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roadmap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)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Are we clear on the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KPIs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to run the business and the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goals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(e.g. OKRs) to drive change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Are we effectively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allocating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capacity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(time, money), ensuring we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don’t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over-commit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D2BDE6-B3A4-5260-8705-6360309D4A84}"/>
              </a:ext>
            </a:extLst>
          </p:cNvPr>
          <p:cNvCxnSpPr>
            <a:cxnSpLocks/>
          </p:cNvCxnSpPr>
          <p:nvPr/>
        </p:nvCxnSpPr>
        <p:spPr>
          <a:xfrm>
            <a:off x="1751460" y="2878356"/>
            <a:ext cx="0" cy="28408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BE9440-93E9-E2E6-DA25-D2E04D01EC23}"/>
              </a:ext>
            </a:extLst>
          </p:cNvPr>
          <p:cNvSpPr txBox="1"/>
          <p:nvPr/>
        </p:nvSpPr>
        <p:spPr>
          <a:xfrm>
            <a:off x="1964611" y="2855530"/>
            <a:ext cx="2993644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Would most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eopl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escrib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ou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ultur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talen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approach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imilarl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D5CC2E-D637-8D87-0AC9-50A35167D4A4}"/>
              </a:ext>
            </a:extLst>
          </p:cNvPr>
          <p:cNvSpPr txBox="1"/>
          <p:nvPr/>
        </p:nvSpPr>
        <p:spPr>
          <a:xfrm>
            <a:off x="5304168" y="2853058"/>
            <a:ext cx="2992100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Can most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eopl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explain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ou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rateg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in their own word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70A7AD-6E67-3C5E-3922-43B72899175C}"/>
              </a:ext>
            </a:extLst>
          </p:cNvPr>
          <p:cNvSpPr txBox="1"/>
          <p:nvPr/>
        </p:nvSpPr>
        <p:spPr>
          <a:xfrm>
            <a:off x="8679785" y="2841182"/>
            <a:ext cx="2935953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team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know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ha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matter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now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– and what can wait?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F4C8D2-7284-0B74-BED6-5B832A08350E}"/>
              </a:ext>
            </a:extLst>
          </p:cNvPr>
          <p:cNvCxnSpPr>
            <a:cxnSpLocks/>
          </p:cNvCxnSpPr>
          <p:nvPr/>
        </p:nvCxnSpPr>
        <p:spPr>
          <a:xfrm>
            <a:off x="1751460" y="3382635"/>
            <a:ext cx="0" cy="27333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C1F7406-C2E0-0A5B-458C-998EE5E6BA79}"/>
              </a:ext>
            </a:extLst>
          </p:cNvPr>
          <p:cNvSpPr txBox="1"/>
          <p:nvPr/>
        </p:nvSpPr>
        <p:spPr>
          <a:xfrm>
            <a:off x="1964610" y="3360942"/>
            <a:ext cx="3087430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Do our </a:t>
            </a:r>
            <a:r>
              <a:rPr lang="en-US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behaviors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hiring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recognition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reflect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 what we </a:t>
            </a:r>
            <a:r>
              <a:rPr lang="en-GB" sz="1050" b="1" dirty="0">
                <a:latin typeface="Segoe UI" panose="020B0502040204020203" pitchFamily="34" charset="0"/>
                <a:cs typeface="Segoe UI" panose="020B0502040204020203" pitchFamily="34" charset="0"/>
              </a:rPr>
              <a:t>value</a:t>
            </a:r>
            <a:r>
              <a:rPr lang="en-GB" sz="1050" dirty="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62E6B8-9644-4176-3CC0-44B9BF682602}"/>
              </a:ext>
            </a:extLst>
          </p:cNvPr>
          <p:cNvSpPr txBox="1"/>
          <p:nvPr/>
        </p:nvSpPr>
        <p:spPr>
          <a:xfrm>
            <a:off x="5304168" y="3358470"/>
            <a:ext cx="2992100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r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ecision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vestment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onsisten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with ou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rategic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hoic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B6C7-0C05-DB62-4F3A-D90B6FEDBC7C}"/>
              </a:ext>
            </a:extLst>
          </p:cNvPr>
          <p:cNvSpPr txBox="1"/>
          <p:nvPr/>
        </p:nvSpPr>
        <p:spPr>
          <a:xfrm>
            <a:off x="8679785" y="3346594"/>
            <a:ext cx="2935953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KPI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goal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ctually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eer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not just appear in reports?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4AB45-4458-D40E-ABEE-77273A254BD9}"/>
              </a:ext>
            </a:extLst>
          </p:cNvPr>
          <p:cNvCxnSpPr>
            <a:cxnSpLocks/>
          </p:cNvCxnSpPr>
          <p:nvPr/>
        </p:nvCxnSpPr>
        <p:spPr>
          <a:xfrm>
            <a:off x="1749915" y="4574409"/>
            <a:ext cx="0" cy="95754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BF3A6C5-8BF3-3CEC-D76F-A3D5583237DC}"/>
              </a:ext>
            </a:extLst>
          </p:cNvPr>
          <p:cNvSpPr txBox="1"/>
          <p:nvPr/>
        </p:nvSpPr>
        <p:spPr>
          <a:xfrm>
            <a:off x="1963065" y="4550594"/>
            <a:ext cx="3088984" cy="1031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Does our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org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structure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support us in reaching our goals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Are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roles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accountabilities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, and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decision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rights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 clear and consistent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Does our </a:t>
            </a:r>
            <a:r>
              <a:rPr lang="en-US" sz="1050" b="1">
                <a:latin typeface="Segoe UI" panose="020B0502040204020203" pitchFamily="34" charset="0"/>
                <a:cs typeface="Segoe UI" panose="020B0502040204020203" pitchFamily="34" charset="0"/>
              </a:rPr>
              <a:t>operating rhythm </a:t>
            </a:r>
            <a:r>
              <a:rPr lang="en-US" sz="1050">
                <a:latin typeface="Segoe UI" panose="020B0502040204020203" pitchFamily="34" charset="0"/>
                <a:cs typeface="Segoe UI" panose="020B0502040204020203" pitchFamily="34" charset="0"/>
              </a:rPr>
              <a:t>(meetings, reports) keep us informed and aligned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A94B79-4365-3457-173C-FCC82D1584B4}"/>
              </a:ext>
            </a:extLst>
          </p:cNvPr>
          <p:cNvSpPr txBox="1"/>
          <p:nvPr/>
        </p:nvSpPr>
        <p:spPr>
          <a:xfrm>
            <a:off x="5302622" y="4548122"/>
            <a:ext cx="2993645" cy="1031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Have we defined ou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ke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rocesse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(run) and how we driv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itiative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(change)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they have clea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owner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measur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ocumentation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Is there a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onsisten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a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t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rioritiz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ar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op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itiativ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A72B648-0603-4BA2-3E65-0C4EB3626F2C}"/>
              </a:ext>
            </a:extLst>
          </p:cNvPr>
          <p:cNvSpPr txBox="1"/>
          <p:nvPr/>
        </p:nvSpPr>
        <p:spPr>
          <a:xfrm>
            <a:off x="8678240" y="4536246"/>
            <a:ext cx="2954149" cy="1031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we have a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oheren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etup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fo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application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frastructur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r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ownership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tandard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(naming, access, etc.) clear?</a:t>
            </a:r>
          </a:p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es our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etup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peopl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together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effectively?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67257A9-887C-A3E6-FDE5-1FF2CF2F53B2}"/>
              </a:ext>
            </a:extLst>
          </p:cNvPr>
          <p:cNvCxnSpPr>
            <a:cxnSpLocks/>
          </p:cNvCxnSpPr>
          <p:nvPr/>
        </p:nvCxnSpPr>
        <p:spPr>
          <a:xfrm>
            <a:off x="1749915" y="5766556"/>
            <a:ext cx="0" cy="28408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11D3A11-A132-DFBA-AFFE-4C9A4DF59165}"/>
              </a:ext>
            </a:extLst>
          </p:cNvPr>
          <p:cNvSpPr txBox="1"/>
          <p:nvPr/>
        </p:nvSpPr>
        <p:spPr>
          <a:xfrm>
            <a:off x="1963064" y="5722391"/>
            <a:ext cx="3088980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people know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ho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ecides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 do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wha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how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formation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hare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7EC3CF7-2959-1007-A6C3-3CEEBF17E7FC}"/>
              </a:ext>
            </a:extLst>
          </p:cNvPr>
          <p:cNvSpPr txBox="1"/>
          <p:nvPr/>
        </p:nvSpPr>
        <p:spPr>
          <a:xfrm>
            <a:off x="5302622" y="5741258"/>
            <a:ext cx="2980353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eopl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understan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how key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rocess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itiativ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operate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E33746-A99F-5259-D0AA-EE66A732491E}"/>
              </a:ext>
            </a:extLst>
          </p:cNvPr>
          <p:cNvSpPr txBox="1"/>
          <p:nvPr/>
        </p:nvSpPr>
        <p:spPr>
          <a:xfrm>
            <a:off x="8678241" y="5729382"/>
            <a:ext cx="2937498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Do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eople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know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which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ourc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tool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to use (and which not)?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12F7B3-212A-304D-3478-C7B5A969688C}"/>
              </a:ext>
            </a:extLst>
          </p:cNvPr>
          <p:cNvCxnSpPr>
            <a:cxnSpLocks/>
          </p:cNvCxnSpPr>
          <p:nvPr/>
        </p:nvCxnSpPr>
        <p:spPr>
          <a:xfrm>
            <a:off x="1749915" y="6277116"/>
            <a:ext cx="0" cy="27333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6ABDBC3-50CC-AF29-4379-50ACFFDE1598}"/>
              </a:ext>
            </a:extLst>
          </p:cNvPr>
          <p:cNvSpPr txBox="1"/>
          <p:nvPr/>
        </p:nvSpPr>
        <p:spPr>
          <a:xfrm>
            <a:off x="1963065" y="6255423"/>
            <a:ext cx="3088974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r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ecision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made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 acted on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where intended, and does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fo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flow 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fast enough?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96615B8-6CE5-8358-66D4-7B6ECA0494BB}"/>
              </a:ext>
            </a:extLst>
          </p:cNvPr>
          <p:cNvSpPr txBox="1"/>
          <p:nvPr/>
        </p:nvSpPr>
        <p:spPr>
          <a:xfrm>
            <a:off x="5302622" y="6252951"/>
            <a:ext cx="2980353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re key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process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followe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with discipline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continuously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mprove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9737DE-CBA7-BFA7-B577-D2F9408E09A6}"/>
              </a:ext>
            </a:extLst>
          </p:cNvPr>
          <p:cNvSpPr txBox="1"/>
          <p:nvPr/>
        </p:nvSpPr>
        <p:spPr>
          <a:xfrm>
            <a:off x="8678241" y="6241075"/>
            <a:ext cx="2937498" cy="32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105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Ar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system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use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a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ntended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, do w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fix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issues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a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 the </a:t>
            </a:r>
            <a:r>
              <a:rPr lang="en-GB" sz="1050" b="1">
                <a:latin typeface="Segoe UI" panose="020B0502040204020203" pitchFamily="34" charset="0"/>
                <a:cs typeface="Segoe UI" panose="020B0502040204020203" pitchFamily="34" charset="0"/>
              </a:rPr>
              <a:t>root</a:t>
            </a:r>
            <a:r>
              <a:rPr lang="en-GB" sz="1050"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0B9CC43-BAA2-DCB1-C3C3-548254536E15}"/>
              </a:ext>
            </a:extLst>
          </p:cNvPr>
          <p:cNvGrpSpPr/>
          <p:nvPr/>
        </p:nvGrpSpPr>
        <p:grpSpPr>
          <a:xfrm>
            <a:off x="1964610" y="4050868"/>
            <a:ext cx="2968147" cy="443996"/>
            <a:chOff x="2015410" y="4030695"/>
            <a:chExt cx="2968147" cy="443996"/>
          </a:xfrm>
        </p:grpSpPr>
        <p:sp>
          <p:nvSpPr>
            <p:cNvPr id="45" name="btfpColumnHeaderBoxText895087">
              <a:extLst>
                <a:ext uri="{FF2B5EF4-FFF2-40B4-BE49-F238E27FC236}">
                  <a16:creationId xmlns:a16="http://schemas.microsoft.com/office/drawing/2014/main" id="{B61A1265-5967-5955-59AC-4545A6DAC6B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2015410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Structure</a:t>
              </a:r>
            </a:p>
          </p:txBody>
        </p:sp>
        <p:cxnSp>
          <p:nvCxnSpPr>
            <p:cNvPr id="46" name="btfpColumnHeaderBoxLine895087">
              <a:extLst>
                <a:ext uri="{FF2B5EF4-FFF2-40B4-BE49-F238E27FC236}">
                  <a16:creationId xmlns:a16="http://schemas.microsoft.com/office/drawing/2014/main" id="{C0117A90-5847-DCB5-F4D0-629483C47C1B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>
              <a:off x="2015410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27EF875-5D05-676A-EB3C-3FEA609AAA33}"/>
                </a:ext>
              </a:extLst>
            </p:cNvPr>
            <p:cNvGrpSpPr/>
            <p:nvPr/>
          </p:nvGrpSpPr>
          <p:grpSpPr>
            <a:xfrm>
              <a:off x="4539561" y="4030695"/>
              <a:ext cx="443996" cy="443996"/>
              <a:chOff x="4525562" y="4403671"/>
              <a:chExt cx="443996" cy="443996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41591213-2798-ABDB-FAE8-8F6C16D916F0}"/>
                  </a:ext>
                </a:extLst>
              </p:cNvPr>
              <p:cNvSpPr/>
              <p:nvPr/>
            </p:nvSpPr>
            <p:spPr>
              <a:xfrm>
                <a:off x="4525562" y="4403671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49" name="Graphic 48">
                <a:extLst>
                  <a:ext uri="{FF2B5EF4-FFF2-40B4-BE49-F238E27FC236}">
                    <a16:creationId xmlns:a16="http://schemas.microsoft.com/office/drawing/2014/main" id="{FBCE41DA-EDB3-8541-3665-A7131CF67A2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rcRect l="15564" t="16111" r="15489" b="15926"/>
              <a:stretch/>
            </p:blipFill>
            <p:spPr>
              <a:xfrm>
                <a:off x="4525562" y="4410015"/>
                <a:ext cx="443996" cy="437652"/>
              </a:xfrm>
              <a:prstGeom prst="rect">
                <a:avLst/>
              </a:prstGeom>
            </p:spPr>
          </p:pic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2E532E3-3F2B-893D-209D-8A65681E4EE0}"/>
              </a:ext>
            </a:extLst>
          </p:cNvPr>
          <p:cNvGrpSpPr/>
          <p:nvPr/>
        </p:nvGrpSpPr>
        <p:grpSpPr>
          <a:xfrm>
            <a:off x="5263557" y="4004255"/>
            <a:ext cx="3019418" cy="531725"/>
            <a:chOff x="5289193" y="3984456"/>
            <a:chExt cx="3019418" cy="531725"/>
          </a:xfrm>
        </p:grpSpPr>
        <p:sp>
          <p:nvSpPr>
            <p:cNvPr id="51" name="btfpColumnHeaderBoxText895087">
              <a:extLst>
                <a:ext uri="{FF2B5EF4-FFF2-40B4-BE49-F238E27FC236}">
                  <a16:creationId xmlns:a16="http://schemas.microsoft.com/office/drawing/2014/main" id="{3651E7AC-4C9B-0FCB-193A-3188C6F0D824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5289193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Processes &amp; initiatives</a:t>
              </a:r>
            </a:p>
          </p:txBody>
        </p:sp>
        <p:cxnSp>
          <p:nvCxnSpPr>
            <p:cNvPr id="52" name="btfpColumnHeaderBoxLine895087">
              <a:extLst>
                <a:ext uri="{FF2B5EF4-FFF2-40B4-BE49-F238E27FC236}">
                  <a16:creationId xmlns:a16="http://schemas.microsoft.com/office/drawing/2014/main" id="{75F4959E-4A3C-F9FF-17B1-3E9E0BC01B9B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>
              <a:off x="5289193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D30040A-5AFA-1EBE-DCEF-9FA161B60381}"/>
                </a:ext>
              </a:extLst>
            </p:cNvPr>
            <p:cNvGrpSpPr/>
            <p:nvPr/>
          </p:nvGrpSpPr>
          <p:grpSpPr>
            <a:xfrm>
              <a:off x="7762073" y="3984456"/>
              <a:ext cx="546538" cy="531725"/>
              <a:chOff x="6763742" y="4399142"/>
              <a:chExt cx="546538" cy="531725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558C3E2-C1C8-077B-3B71-4256435CA377}"/>
                  </a:ext>
                </a:extLst>
              </p:cNvPr>
              <p:cNvSpPr/>
              <p:nvPr/>
            </p:nvSpPr>
            <p:spPr>
              <a:xfrm>
                <a:off x="6815013" y="4443006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55" name="Graphic 54">
                <a:extLst>
                  <a:ext uri="{FF2B5EF4-FFF2-40B4-BE49-F238E27FC236}">
                    <a16:creationId xmlns:a16="http://schemas.microsoft.com/office/drawing/2014/main" id="{E48F926F-BF4E-B6EB-E184-103C1F2235C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rcRect l="16280" t="17724" r="17214" b="17573"/>
              <a:stretch/>
            </p:blipFill>
            <p:spPr>
              <a:xfrm>
                <a:off x="6763742" y="4399142"/>
                <a:ext cx="546538" cy="531725"/>
              </a:xfrm>
              <a:prstGeom prst="rect">
                <a:avLst/>
              </a:prstGeom>
            </p:spPr>
          </p:pic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ECDF0F8-2F09-0DBA-0C17-487E782E72E5}"/>
              </a:ext>
            </a:extLst>
          </p:cNvPr>
          <p:cNvGrpSpPr/>
          <p:nvPr/>
        </p:nvGrpSpPr>
        <p:grpSpPr>
          <a:xfrm>
            <a:off x="8613775" y="4015946"/>
            <a:ext cx="3004111" cy="493430"/>
            <a:chOff x="8562975" y="4002497"/>
            <a:chExt cx="3004111" cy="493430"/>
          </a:xfrm>
        </p:grpSpPr>
        <p:sp>
          <p:nvSpPr>
            <p:cNvPr id="57" name="btfpColumnHeaderBoxText895087">
              <a:extLst>
                <a:ext uri="{FF2B5EF4-FFF2-40B4-BE49-F238E27FC236}">
                  <a16:creationId xmlns:a16="http://schemas.microsoft.com/office/drawing/2014/main" id="{7269BEE9-1985-3DCD-43DC-B4CD135D8A7F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8562975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Information technology</a:t>
              </a:r>
            </a:p>
          </p:txBody>
        </p:sp>
        <p:cxnSp>
          <p:nvCxnSpPr>
            <p:cNvPr id="58" name="btfpColumnHeaderBoxLine895087">
              <a:extLst>
                <a:ext uri="{FF2B5EF4-FFF2-40B4-BE49-F238E27FC236}">
                  <a16:creationId xmlns:a16="http://schemas.microsoft.com/office/drawing/2014/main" id="{14021731-2D08-22FD-6D12-224F2B554E3B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>
              <a:off x="8562975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0FB69B5-DDE7-1F98-CADD-EFF4A0B5EE5D}"/>
                </a:ext>
              </a:extLst>
            </p:cNvPr>
            <p:cNvGrpSpPr/>
            <p:nvPr/>
          </p:nvGrpSpPr>
          <p:grpSpPr>
            <a:xfrm>
              <a:off x="11051162" y="4002497"/>
              <a:ext cx="515924" cy="493430"/>
              <a:chOff x="9000581" y="4434364"/>
              <a:chExt cx="515924" cy="493430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063169B-C3D5-1130-2C7C-B88FAD13A70A}"/>
                  </a:ext>
                </a:extLst>
              </p:cNvPr>
              <p:cNvSpPr/>
              <p:nvPr/>
            </p:nvSpPr>
            <p:spPr>
              <a:xfrm>
                <a:off x="9036545" y="4459081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CF72281-EBEC-9297-A5E0-A5C00492989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rcRect l="16661" t="18499" r="16751" b="17816"/>
              <a:stretch/>
            </p:blipFill>
            <p:spPr>
              <a:xfrm>
                <a:off x="9000581" y="4434364"/>
                <a:ext cx="515924" cy="493430"/>
              </a:xfrm>
              <a:prstGeom prst="rect">
                <a:avLst/>
              </a:prstGeom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5DBCE65-B664-7AFE-8187-1A70E9A1D87C}"/>
              </a:ext>
            </a:extLst>
          </p:cNvPr>
          <p:cNvGrpSpPr/>
          <p:nvPr/>
        </p:nvGrpSpPr>
        <p:grpSpPr>
          <a:xfrm>
            <a:off x="1964610" y="1172278"/>
            <a:ext cx="2993650" cy="443996"/>
            <a:chOff x="2114025" y="1298903"/>
            <a:chExt cx="2993650" cy="443996"/>
          </a:xfrm>
        </p:grpSpPr>
        <p:grpSp>
          <p:nvGrpSpPr>
            <p:cNvPr id="63" name="btfpColumnHeaderBox895087">
              <a:extLst>
                <a:ext uri="{FF2B5EF4-FFF2-40B4-BE49-F238E27FC236}">
                  <a16:creationId xmlns:a16="http://schemas.microsoft.com/office/drawing/2014/main" id="{367B597D-781D-315D-BC4A-F35FB9241923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2114025" y="1360159"/>
              <a:ext cx="2954148" cy="290707"/>
              <a:chOff x="10236200" y="1630009"/>
              <a:chExt cx="1625600" cy="290707"/>
            </a:xfrm>
          </p:grpSpPr>
          <p:sp>
            <p:nvSpPr>
              <p:cNvPr id="67" name="btfpColumnHeaderBoxText895087">
                <a:extLst>
                  <a:ext uri="{FF2B5EF4-FFF2-40B4-BE49-F238E27FC236}">
                    <a16:creationId xmlns:a16="http://schemas.microsoft.com/office/drawing/2014/main" id="{1C43D232-2BE1-6FE7-E222-FBFD67383A28}"/>
                  </a:ext>
                </a:extLst>
              </p:cNvPr>
              <p:cNvSpPr txBox="1"/>
              <p:nvPr>
                <p:custDataLst>
                  <p:tags r:id="rId9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eople</a:t>
                </a:r>
              </a:p>
            </p:txBody>
          </p:sp>
          <p:cxnSp>
            <p:nvCxnSpPr>
              <p:cNvPr id="68" name="btfpColumnHeaderBoxLine895087">
                <a:extLst>
                  <a:ext uri="{FF2B5EF4-FFF2-40B4-BE49-F238E27FC236}">
                    <a16:creationId xmlns:a16="http://schemas.microsoft.com/office/drawing/2014/main" id="{C80E5C9D-547C-FFD6-6C35-3C3C0C4B75B6}"/>
                  </a:ext>
                </a:extLst>
              </p:cNvPr>
              <p:cNvCxnSpPr/>
              <p:nvPr>
                <p:custDataLst>
                  <p:tags r:id="rId10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B4711659-BEF3-EBB0-1572-2F5F4EA58B0B}"/>
                </a:ext>
              </a:extLst>
            </p:cNvPr>
            <p:cNvGrpSpPr/>
            <p:nvPr/>
          </p:nvGrpSpPr>
          <p:grpSpPr>
            <a:xfrm>
              <a:off x="4612673" y="1298903"/>
              <a:ext cx="495002" cy="443996"/>
              <a:chOff x="4523252" y="2295155"/>
              <a:chExt cx="495002" cy="443996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9FD12C5D-5333-38A2-61D8-AD257BDA603A}"/>
                  </a:ext>
                </a:extLst>
              </p:cNvPr>
              <p:cNvSpPr/>
              <p:nvPr/>
            </p:nvSpPr>
            <p:spPr>
              <a:xfrm>
                <a:off x="4548755" y="2295155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15D100F8-D6E7-B133-D1D6-E909CE86C0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rcRect l="17635" t="30305" r="17548" b="30748"/>
              <a:stretch/>
            </p:blipFill>
            <p:spPr>
              <a:xfrm>
                <a:off x="4523252" y="2368439"/>
                <a:ext cx="495002" cy="297429"/>
              </a:xfrm>
              <a:prstGeom prst="rect">
                <a:avLst/>
              </a:prstGeom>
            </p:spPr>
          </p:pic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D655ADA-9443-30E1-AFDF-7F94F9330247}"/>
              </a:ext>
            </a:extLst>
          </p:cNvPr>
          <p:cNvGrpSpPr/>
          <p:nvPr/>
        </p:nvGrpSpPr>
        <p:grpSpPr>
          <a:xfrm>
            <a:off x="5272484" y="1172278"/>
            <a:ext cx="3027067" cy="443996"/>
            <a:chOff x="5387808" y="1298903"/>
            <a:chExt cx="3027067" cy="443996"/>
          </a:xfrm>
        </p:grpSpPr>
        <p:grpSp>
          <p:nvGrpSpPr>
            <p:cNvPr id="70" name="btfpColumnHeaderBox895087">
              <a:extLst>
                <a:ext uri="{FF2B5EF4-FFF2-40B4-BE49-F238E27FC236}">
                  <a16:creationId xmlns:a16="http://schemas.microsoft.com/office/drawing/2014/main" id="{61A0D959-D3CB-B3AA-9414-BF615DAE27FD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5387808" y="1360159"/>
              <a:ext cx="2954148" cy="290707"/>
              <a:chOff x="10236200" y="1630009"/>
              <a:chExt cx="1625600" cy="290707"/>
            </a:xfrm>
          </p:grpSpPr>
          <p:sp>
            <p:nvSpPr>
              <p:cNvPr id="74" name="btfpColumnHeaderBoxText895087">
                <a:extLst>
                  <a:ext uri="{FF2B5EF4-FFF2-40B4-BE49-F238E27FC236}">
                    <a16:creationId xmlns:a16="http://schemas.microsoft.com/office/drawing/2014/main" id="{6C6A778B-36BC-DA4C-6F19-5001A86177F8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Strategy</a:t>
                </a:r>
              </a:p>
            </p:txBody>
          </p:sp>
          <p:cxnSp>
            <p:nvCxnSpPr>
              <p:cNvPr id="75" name="btfpColumnHeaderBoxLine895087">
                <a:extLst>
                  <a:ext uri="{FF2B5EF4-FFF2-40B4-BE49-F238E27FC236}">
                    <a16:creationId xmlns:a16="http://schemas.microsoft.com/office/drawing/2014/main" id="{6A40E678-C8B7-27F0-5EBF-0CD97E37B1AF}"/>
                  </a:ext>
                </a:extLst>
              </p:cNvPr>
              <p:cNvCxnSpPr/>
              <p:nvPr>
                <p:custDataLst>
                  <p:tags r:id="rId7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07B9BAAD-D682-75B8-39D4-2AD85462B7B5}"/>
                </a:ext>
              </a:extLst>
            </p:cNvPr>
            <p:cNvGrpSpPr/>
            <p:nvPr/>
          </p:nvGrpSpPr>
          <p:grpSpPr>
            <a:xfrm>
              <a:off x="7856854" y="1298903"/>
              <a:ext cx="558021" cy="443996"/>
              <a:chOff x="6773290" y="2276376"/>
              <a:chExt cx="558021" cy="44399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C4C0B6FE-BEDC-2C5D-E0D6-25112DC95B78}"/>
                  </a:ext>
                </a:extLst>
              </p:cNvPr>
              <p:cNvSpPr/>
              <p:nvPr/>
            </p:nvSpPr>
            <p:spPr>
              <a:xfrm>
                <a:off x="6830302" y="2276376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6A90A0A3-E68E-AC66-4B62-98D01BEFFA2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rcRect l="16185" t="30526" r="15039" b="31126"/>
              <a:stretch/>
            </p:blipFill>
            <p:spPr>
              <a:xfrm>
                <a:off x="6773290" y="2342806"/>
                <a:ext cx="558021" cy="311137"/>
              </a:xfrm>
              <a:prstGeom prst="rect">
                <a:avLst/>
              </a:prstGeom>
            </p:spPr>
          </p:pic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04019D4-5DA6-F0C1-9EA7-55F7F7431F3A}"/>
              </a:ext>
            </a:extLst>
          </p:cNvPr>
          <p:cNvGrpSpPr/>
          <p:nvPr/>
        </p:nvGrpSpPr>
        <p:grpSpPr>
          <a:xfrm>
            <a:off x="8613775" y="1172278"/>
            <a:ext cx="2970629" cy="443996"/>
            <a:chOff x="8661590" y="1298903"/>
            <a:chExt cx="2970629" cy="443996"/>
          </a:xfrm>
        </p:grpSpPr>
        <p:grpSp>
          <p:nvGrpSpPr>
            <p:cNvPr id="77" name="btfpColumnHeaderBox895087">
              <a:extLst>
                <a:ext uri="{FF2B5EF4-FFF2-40B4-BE49-F238E27FC236}">
                  <a16:creationId xmlns:a16="http://schemas.microsoft.com/office/drawing/2014/main" id="{CD38C580-8281-7D2F-0C55-2C3C83C3027F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8661590" y="1360159"/>
              <a:ext cx="2954148" cy="290707"/>
              <a:chOff x="10236200" y="1630009"/>
              <a:chExt cx="1625600" cy="290707"/>
            </a:xfrm>
          </p:grpSpPr>
          <p:sp>
            <p:nvSpPr>
              <p:cNvPr id="81" name="btfpColumnHeaderBoxText895087">
                <a:extLst>
                  <a:ext uri="{FF2B5EF4-FFF2-40B4-BE49-F238E27FC236}">
                    <a16:creationId xmlns:a16="http://schemas.microsoft.com/office/drawing/2014/main" id="{A2222867-ABC7-5E63-FAB5-AA31D7A4B006}"/>
                  </a:ext>
                </a:extLst>
              </p:cNvPr>
              <p:cNvSpPr txBox="1"/>
              <p:nvPr>
                <p:custDataLst>
                  <p:tags r:id="rId3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iorities</a:t>
                </a:r>
              </a:p>
            </p:txBody>
          </p:sp>
          <p:cxnSp>
            <p:nvCxnSpPr>
              <p:cNvPr id="82" name="btfpColumnHeaderBoxLine895087">
                <a:extLst>
                  <a:ext uri="{FF2B5EF4-FFF2-40B4-BE49-F238E27FC236}">
                    <a16:creationId xmlns:a16="http://schemas.microsoft.com/office/drawing/2014/main" id="{A554D550-0896-8B06-B2EE-50F165B9EA81}"/>
                  </a:ext>
                </a:extLst>
              </p:cNvPr>
              <p:cNvCxnSpPr/>
              <p:nvPr>
                <p:custDataLst>
                  <p:tags r:id="rId4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E4F6088-239E-33D2-CDC7-41ACE24B8E68}"/>
                </a:ext>
              </a:extLst>
            </p:cNvPr>
            <p:cNvGrpSpPr/>
            <p:nvPr/>
          </p:nvGrpSpPr>
          <p:grpSpPr>
            <a:xfrm>
              <a:off x="11188223" y="1298903"/>
              <a:ext cx="443996" cy="443996"/>
              <a:chOff x="9072984" y="2232544"/>
              <a:chExt cx="443996" cy="443996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42CA55B6-87BB-AF54-4BA7-3CC7F7F31460}"/>
                  </a:ext>
                </a:extLst>
              </p:cNvPr>
              <p:cNvSpPr/>
              <p:nvPr/>
            </p:nvSpPr>
            <p:spPr>
              <a:xfrm>
                <a:off x="9072984" y="2232544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991A438E-A321-66E3-245C-92BDFFC490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rcRect l="24432" t="23910" r="24904" b="24697"/>
              <a:stretch/>
            </p:blipFill>
            <p:spPr>
              <a:xfrm>
                <a:off x="9076570" y="2232985"/>
                <a:ext cx="436824" cy="443114"/>
              </a:xfrm>
              <a:prstGeom prst="rect">
                <a:avLst/>
              </a:prstGeom>
            </p:spPr>
          </p:pic>
        </p:grp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7364BF8C-301D-5C6A-E422-1EA5C1AF19C9}"/>
              </a:ext>
            </a:extLst>
          </p:cNvPr>
          <p:cNvSpPr txBox="1"/>
          <p:nvPr/>
        </p:nvSpPr>
        <p:spPr>
          <a:xfrm>
            <a:off x="613140" y="3411702"/>
            <a:ext cx="10053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Executi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3005E1D-4269-AF80-A357-07D5A0F71075}"/>
              </a:ext>
            </a:extLst>
          </p:cNvPr>
          <p:cNvSpPr txBox="1"/>
          <p:nvPr/>
        </p:nvSpPr>
        <p:spPr>
          <a:xfrm>
            <a:off x="613140" y="2918252"/>
            <a:ext cx="10053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Awarenes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1029060-A21F-8E80-9208-4DC4A5458568}"/>
              </a:ext>
            </a:extLst>
          </p:cNvPr>
          <p:cNvSpPr txBox="1"/>
          <p:nvPr/>
        </p:nvSpPr>
        <p:spPr>
          <a:xfrm>
            <a:off x="613139" y="1666785"/>
            <a:ext cx="10053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246CEF3-77FF-37DD-037F-BC5F286EBAA3}"/>
              </a:ext>
            </a:extLst>
          </p:cNvPr>
          <p:cNvSpPr txBox="1"/>
          <p:nvPr/>
        </p:nvSpPr>
        <p:spPr>
          <a:xfrm>
            <a:off x="613140" y="6294116"/>
            <a:ext cx="10053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Executio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E5F69B7-60AF-2642-DCC9-17AB522CDE1E}"/>
              </a:ext>
            </a:extLst>
          </p:cNvPr>
          <p:cNvSpPr txBox="1"/>
          <p:nvPr/>
        </p:nvSpPr>
        <p:spPr>
          <a:xfrm>
            <a:off x="613140" y="5799228"/>
            <a:ext cx="10053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Awarenes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2D02816-80B1-8259-25A9-BEE538FE81B7}"/>
              </a:ext>
            </a:extLst>
          </p:cNvPr>
          <p:cNvSpPr txBox="1"/>
          <p:nvPr/>
        </p:nvSpPr>
        <p:spPr>
          <a:xfrm>
            <a:off x="613139" y="4564965"/>
            <a:ext cx="10053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0C641F0-0B9B-8452-164E-80AE475814AC}"/>
              </a:ext>
            </a:extLst>
          </p:cNvPr>
          <p:cNvSpPr txBox="1"/>
          <p:nvPr/>
        </p:nvSpPr>
        <p:spPr>
          <a:xfrm>
            <a:off x="510988" y="289622"/>
            <a:ext cx="109817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>
                <a:latin typeface="Segoe UI" panose="020B0502040204020203" pitchFamily="34" charset="0"/>
                <a:cs typeface="Segoe UI" panose="020B0502040204020203" pitchFamily="34" charset="0"/>
              </a:rPr>
              <a:t>Operating system scan | Extended question lis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C014EE2-C547-06CE-2BD7-DB4677D9CAE2}"/>
              </a:ext>
            </a:extLst>
          </p:cNvPr>
          <p:cNvGrpSpPr/>
          <p:nvPr/>
        </p:nvGrpSpPr>
        <p:grpSpPr>
          <a:xfrm>
            <a:off x="486822" y="3674980"/>
            <a:ext cx="11128916" cy="581126"/>
            <a:chOff x="486822" y="3718682"/>
            <a:chExt cx="11128916" cy="581126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F3441898-AA51-597E-9C8C-B3976312BD5F}"/>
                </a:ext>
              </a:extLst>
            </p:cNvPr>
            <p:cNvCxnSpPr>
              <a:cxnSpLocks/>
            </p:cNvCxnSpPr>
            <p:nvPr/>
          </p:nvCxnSpPr>
          <p:spPr>
            <a:xfrm>
              <a:off x="576263" y="4009245"/>
              <a:ext cx="11039475" cy="0"/>
            </a:xfrm>
            <a:prstGeom prst="line">
              <a:avLst/>
            </a:prstGeom>
            <a:ln>
              <a:solidFill>
                <a:srgbClr val="F59E0B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E2D598E-61D9-6967-B4BB-BD3EEF28C82C}"/>
                </a:ext>
              </a:extLst>
            </p:cNvPr>
            <p:cNvGrpSpPr/>
            <p:nvPr/>
          </p:nvGrpSpPr>
          <p:grpSpPr>
            <a:xfrm>
              <a:off x="486822" y="3718682"/>
              <a:ext cx="1923002" cy="581126"/>
              <a:chOff x="1896768" y="2611743"/>
              <a:chExt cx="1923002" cy="581126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159E1CC-E320-0105-11C8-1E0EEE9F4CCD}"/>
                  </a:ext>
                </a:extLst>
              </p:cNvPr>
              <p:cNvSpPr/>
              <p:nvPr/>
            </p:nvSpPr>
            <p:spPr>
              <a:xfrm>
                <a:off x="1920933" y="2804641"/>
                <a:ext cx="1898837" cy="19533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72E5A69E-9A82-B99E-ABAE-C09444E347DD}"/>
                  </a:ext>
                </a:extLst>
              </p:cNvPr>
              <p:cNvGrpSpPr/>
              <p:nvPr/>
            </p:nvGrpSpPr>
            <p:grpSpPr>
              <a:xfrm>
                <a:off x="1896768" y="2611743"/>
                <a:ext cx="1772284" cy="581126"/>
                <a:chOff x="1896768" y="2611743"/>
                <a:chExt cx="1772284" cy="581126"/>
              </a:xfrm>
            </p:grpSpPr>
            <p:pic>
              <p:nvPicPr>
                <p:cNvPr id="32" name="Graphic 31">
                  <a:extLst>
                    <a:ext uri="{FF2B5EF4-FFF2-40B4-BE49-F238E27FC236}">
                      <a16:creationId xmlns:a16="http://schemas.microsoft.com/office/drawing/2014/main" id="{252C7709-2B69-ADB7-A7B1-F80D28A16B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96768" y="2611743"/>
                  <a:ext cx="581126" cy="581126"/>
                </a:xfrm>
                <a:prstGeom prst="rect">
                  <a:avLst/>
                </a:prstGeom>
              </p:spPr>
            </p:pic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4EB0AA73-668D-30A1-0C34-6695B85B5CFE}"/>
                    </a:ext>
                  </a:extLst>
                </p:cNvPr>
                <p:cNvSpPr txBox="1"/>
                <p:nvPr/>
              </p:nvSpPr>
              <p:spPr>
                <a:xfrm>
                  <a:off x="2517070" y="2779196"/>
                  <a:ext cx="1151982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60949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59E0B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Moving fast</a:t>
                  </a:r>
                </a:p>
              </p:txBody>
            </p:sp>
          </p:grp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DDA24BC-FA38-AE94-1D0D-5E9CD52EC50D}"/>
              </a:ext>
            </a:extLst>
          </p:cNvPr>
          <p:cNvGrpSpPr/>
          <p:nvPr/>
        </p:nvGrpSpPr>
        <p:grpSpPr>
          <a:xfrm>
            <a:off x="526804" y="840136"/>
            <a:ext cx="11088934" cy="472691"/>
            <a:chOff x="526804" y="1123831"/>
            <a:chExt cx="11088934" cy="47269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87D5A43-CADC-6B6E-B746-E7377BA13EE6}"/>
                </a:ext>
              </a:extLst>
            </p:cNvPr>
            <p:cNvCxnSpPr>
              <a:cxnSpLocks/>
            </p:cNvCxnSpPr>
            <p:nvPr/>
          </p:nvCxnSpPr>
          <p:spPr>
            <a:xfrm>
              <a:off x="576263" y="1360176"/>
              <a:ext cx="11039475" cy="0"/>
            </a:xfrm>
            <a:prstGeom prst="line">
              <a:avLst/>
            </a:prstGeom>
            <a:ln>
              <a:solidFill>
                <a:srgbClr val="F59E0B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C4A6E5D-570D-CF9E-3041-08FCEC0B1402}"/>
                </a:ext>
              </a:extLst>
            </p:cNvPr>
            <p:cNvGrpSpPr/>
            <p:nvPr/>
          </p:nvGrpSpPr>
          <p:grpSpPr>
            <a:xfrm>
              <a:off x="526804" y="1123831"/>
              <a:ext cx="1866776" cy="472691"/>
              <a:chOff x="1936750" y="2082873"/>
              <a:chExt cx="1866776" cy="472691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958C3B2-B087-ED08-949D-9E6FE29C7E6F}"/>
                  </a:ext>
                </a:extLst>
              </p:cNvPr>
              <p:cNvSpPr/>
              <p:nvPr/>
            </p:nvSpPr>
            <p:spPr>
              <a:xfrm>
                <a:off x="1936750" y="2221553"/>
                <a:ext cx="1866776" cy="19533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719EBCDE-E54D-538C-5125-A276B93488F0}"/>
                  </a:ext>
                </a:extLst>
              </p:cNvPr>
              <p:cNvGrpSpPr/>
              <p:nvPr/>
            </p:nvGrpSpPr>
            <p:grpSpPr>
              <a:xfrm>
                <a:off x="1982736" y="2082873"/>
                <a:ext cx="1805035" cy="472691"/>
                <a:chOff x="2039886" y="2120009"/>
                <a:chExt cx="1805035" cy="472691"/>
              </a:xfrm>
            </p:grpSpPr>
            <p:pic>
              <p:nvPicPr>
                <p:cNvPr id="39" name="Graphic 38">
                  <a:extLst>
                    <a:ext uri="{FF2B5EF4-FFF2-40B4-BE49-F238E27FC236}">
                      <a16:creationId xmlns:a16="http://schemas.microsoft.com/office/drawing/2014/main" id="{68D31A5F-22FA-4C23-CA78-C144663639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4">
                  <a:extLst>
                    <a:ext uri="{96DAC541-7B7A-43D3-8B79-37D633B846F1}">
                      <asvg:svgBlip xmlns:asvg="http://schemas.microsoft.com/office/drawing/2016/SVG/main" r:embed="rId3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39886" y="2120009"/>
                  <a:ext cx="472691" cy="472691"/>
                </a:xfrm>
                <a:prstGeom prst="rect">
                  <a:avLst/>
                </a:prstGeom>
              </p:spPr>
            </p:pic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2C7EBA70-A180-65D0-2263-3C77D0CA7063}"/>
                    </a:ext>
                  </a:extLst>
                </p:cNvPr>
                <p:cNvSpPr txBox="1"/>
                <p:nvPr/>
              </p:nvSpPr>
              <p:spPr>
                <a:xfrm>
                  <a:off x="2605969" y="2233244"/>
                  <a:ext cx="1238952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60949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59E0B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Aiming high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25380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c42bbd9-a754-4003-b794-02af6e91d531}" enabled="1" method="Standard" siteId="{80c4ffa6-7511-4bba-9f03-e5872a660c9b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432</Words>
  <Application>Microsoft Office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Segoe UI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Vonwil</dc:creator>
  <cp:lastModifiedBy>Thomas Vonwil</cp:lastModifiedBy>
  <cp:revision>1</cp:revision>
  <dcterms:created xsi:type="dcterms:W3CDTF">2026-02-13T09:24:25Z</dcterms:created>
  <dcterms:modified xsi:type="dcterms:W3CDTF">2026-02-13T09:36:19Z</dcterms:modified>
</cp:coreProperties>
</file>